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4" r:id="rId1"/>
  </p:sldMasterIdLst>
  <p:notesMasterIdLst>
    <p:notesMasterId r:id="rId3"/>
  </p:notesMasterIdLst>
  <p:handoutMasterIdLst>
    <p:handoutMasterId r:id="rId4"/>
  </p:handoutMasterIdLst>
  <p:sldIdLst>
    <p:sldId id="259" r:id="rId2"/>
  </p:sldIdLst>
  <p:sldSz cx="12801600" cy="9601200" type="A3"/>
  <p:notesSz cx="9144000" cy="6858000"/>
  <p:custDataLst>
    <p:tags r:id="rId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DCE5"/>
    <a:srgbClr val="F3F2F0"/>
    <a:srgbClr val="006666"/>
    <a:srgbClr val="333F50"/>
    <a:srgbClr val="00C9AC"/>
    <a:srgbClr val="FFFFCC"/>
    <a:srgbClr val="66FFCC"/>
    <a:srgbClr val="003399"/>
    <a:srgbClr val="57ABFF"/>
    <a:srgbClr val="99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54" autoAdjust="0"/>
    <p:restoredTop sz="94660"/>
  </p:normalViewPr>
  <p:slideViewPr>
    <p:cSldViewPr snapToGrid="0">
      <p:cViewPr>
        <p:scale>
          <a:sx n="100" d="100"/>
          <a:sy n="100" d="100"/>
        </p:scale>
        <p:origin x="-1320" y="-19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24F14D6-16CA-51AD-9627-099CCF9B31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E7C87D-1CB2-4371-4F78-D7AACB5DA78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DEDFB7-F7B3-44D6-A539-908F0D0A350C}" type="datetimeFigureOut">
              <a:rPr kumimoji="1" lang="ja-JP" altLang="en-US" smtClean="0"/>
              <a:t>2023/7/17</a:t>
            </a:fld>
            <a:endParaRPr kumimoji="1" lang="ja-JP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A8D74E-FB93-C13A-F723-15D6867CDF7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78D05F-F394-C117-8581-E509B5CE7F6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1CCBEF-7BBF-4656-8291-2D301C7245B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2466442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C5A4D-2F39-4379-A92F-B117EFD08CD8}" type="datetimeFigureOut">
              <a:rPr kumimoji="1" lang="ja-JP" altLang="en-US" smtClean="0"/>
              <a:t>2023/7/17</a:t>
            </a:fld>
            <a:endParaRPr kumimoji="1" lang="ja-JP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28950" y="857250"/>
            <a:ext cx="30861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en-US" altLang="ja-JP"/>
              <a:t>Click to 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E74BA-E571-490D-9EC0-DBCC41515D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8017302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1221338" rtl="0" eaLnBrk="1" latinLnBrk="0" hangingPunct="1">
      <a:defRPr kumimoji="1" sz="1603" kern="1200">
        <a:solidFill>
          <a:schemeClr val="tx1"/>
        </a:solidFill>
        <a:latin typeface="+mn-lt"/>
        <a:ea typeface="+mn-ea"/>
        <a:cs typeface="+mn-cs"/>
      </a:defRPr>
    </a:lvl1pPr>
    <a:lvl2pPr marL="610670" algn="l" defTabSz="1221338" rtl="0" eaLnBrk="1" latinLnBrk="0" hangingPunct="1">
      <a:defRPr kumimoji="1" sz="1603" kern="1200">
        <a:solidFill>
          <a:schemeClr val="tx1"/>
        </a:solidFill>
        <a:latin typeface="+mn-lt"/>
        <a:ea typeface="+mn-ea"/>
        <a:cs typeface="+mn-cs"/>
      </a:defRPr>
    </a:lvl2pPr>
    <a:lvl3pPr marL="1221338" algn="l" defTabSz="1221338" rtl="0" eaLnBrk="1" latinLnBrk="0" hangingPunct="1">
      <a:defRPr kumimoji="1" sz="1603" kern="1200">
        <a:solidFill>
          <a:schemeClr val="tx1"/>
        </a:solidFill>
        <a:latin typeface="+mn-lt"/>
        <a:ea typeface="+mn-ea"/>
        <a:cs typeface="+mn-cs"/>
      </a:defRPr>
    </a:lvl3pPr>
    <a:lvl4pPr marL="1832005" algn="l" defTabSz="1221338" rtl="0" eaLnBrk="1" latinLnBrk="0" hangingPunct="1">
      <a:defRPr kumimoji="1" sz="1603" kern="1200">
        <a:solidFill>
          <a:schemeClr val="tx1"/>
        </a:solidFill>
        <a:latin typeface="+mn-lt"/>
        <a:ea typeface="+mn-ea"/>
        <a:cs typeface="+mn-cs"/>
      </a:defRPr>
    </a:lvl4pPr>
    <a:lvl5pPr marL="2442672" algn="l" defTabSz="1221338" rtl="0" eaLnBrk="1" latinLnBrk="0" hangingPunct="1">
      <a:defRPr kumimoji="1" sz="1603" kern="1200">
        <a:solidFill>
          <a:schemeClr val="tx1"/>
        </a:solidFill>
        <a:latin typeface="+mn-lt"/>
        <a:ea typeface="+mn-ea"/>
        <a:cs typeface="+mn-cs"/>
      </a:defRPr>
    </a:lvl5pPr>
    <a:lvl6pPr marL="3053343" algn="l" defTabSz="1221338" rtl="0" eaLnBrk="1" latinLnBrk="0" hangingPunct="1">
      <a:defRPr kumimoji="1" sz="1603" kern="1200">
        <a:solidFill>
          <a:schemeClr val="tx1"/>
        </a:solidFill>
        <a:latin typeface="+mn-lt"/>
        <a:ea typeface="+mn-ea"/>
        <a:cs typeface="+mn-cs"/>
      </a:defRPr>
    </a:lvl6pPr>
    <a:lvl7pPr marL="3664010" algn="l" defTabSz="1221338" rtl="0" eaLnBrk="1" latinLnBrk="0" hangingPunct="1">
      <a:defRPr kumimoji="1" sz="1603" kern="1200">
        <a:solidFill>
          <a:schemeClr val="tx1"/>
        </a:solidFill>
        <a:latin typeface="+mn-lt"/>
        <a:ea typeface="+mn-ea"/>
        <a:cs typeface="+mn-cs"/>
      </a:defRPr>
    </a:lvl7pPr>
    <a:lvl8pPr marL="4274680" algn="l" defTabSz="1221338" rtl="0" eaLnBrk="1" latinLnBrk="0" hangingPunct="1">
      <a:defRPr kumimoji="1" sz="1603" kern="1200">
        <a:solidFill>
          <a:schemeClr val="tx1"/>
        </a:solidFill>
        <a:latin typeface="+mn-lt"/>
        <a:ea typeface="+mn-ea"/>
        <a:cs typeface="+mn-cs"/>
      </a:defRPr>
    </a:lvl8pPr>
    <a:lvl9pPr marL="4885348" algn="l" defTabSz="1221338" rtl="0" eaLnBrk="1" latinLnBrk="0" hangingPunct="1">
      <a:defRPr kumimoji="1" sz="160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28950" y="857250"/>
            <a:ext cx="30861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531369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571308"/>
            <a:ext cx="10881360" cy="3342640"/>
          </a:xfrm>
        </p:spPr>
        <p:txBody>
          <a:bodyPr anchor="b"/>
          <a:lstStyle>
            <a:lvl1pPr algn="ctr">
              <a:defRPr sz="8400"/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3360"/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20"/>
            </a:lvl3pPr>
            <a:lvl4pPr marL="1920240" indent="0" algn="ctr">
              <a:buNone/>
              <a:defRPr sz="2240"/>
            </a:lvl4pPr>
            <a:lvl5pPr marL="2560320" indent="0" algn="ctr">
              <a:buNone/>
              <a:defRPr sz="2240"/>
            </a:lvl5pPr>
            <a:lvl6pPr marL="3200400" indent="0" algn="ctr">
              <a:buNone/>
              <a:defRPr sz="2240"/>
            </a:lvl6pPr>
            <a:lvl7pPr marL="3840480" indent="0" algn="ctr">
              <a:buNone/>
              <a:defRPr sz="2240"/>
            </a:lvl7pPr>
            <a:lvl8pPr marL="4480560" indent="0" algn="ctr">
              <a:buNone/>
              <a:defRPr sz="2240"/>
            </a:lvl8pPr>
            <a:lvl9pPr marL="5120640" indent="0" algn="ctr">
              <a:buNone/>
              <a:defRPr sz="2240"/>
            </a:lvl9pPr>
          </a:lstStyle>
          <a:p>
            <a:r>
              <a:rPr lang="en-US" altLang="ja-JP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F477A-D67B-4799-AAA0-3B075D8D450F}" type="datetimeFigureOut">
              <a:rPr kumimoji="1" lang="ja-JP" altLang="en-US" smtClean="0"/>
              <a:t>2023/7/1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20F5D6-1BD2-4071-AC85-1BA0432729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08404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F477A-D67B-4799-AAA0-3B075D8D450F}" type="datetimeFigureOut">
              <a:rPr kumimoji="1" lang="ja-JP" altLang="en-US" smtClean="0"/>
              <a:t>2023/7/1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20F5D6-1BD2-4071-AC85-1BA0432729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32174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1146" y="511175"/>
            <a:ext cx="2760345" cy="8136573"/>
          </a:xfrm>
        </p:spPr>
        <p:txBody>
          <a:bodyPr vert="eaVert"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0111" y="511175"/>
            <a:ext cx="8121015" cy="8136573"/>
          </a:xfrm>
        </p:spPr>
        <p:txBody>
          <a:bodyPr vert="eaVert"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F477A-D67B-4799-AAA0-3B075D8D450F}" type="datetimeFigureOut">
              <a:rPr kumimoji="1" lang="ja-JP" altLang="en-US" smtClean="0"/>
              <a:t>2023/7/1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20F5D6-1BD2-4071-AC85-1BA0432729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293782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F477A-D67B-4799-AAA0-3B075D8D450F}" type="datetimeFigureOut">
              <a:rPr kumimoji="1" lang="ja-JP" altLang="en-US" smtClean="0"/>
              <a:t>2023/7/1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20F5D6-1BD2-4071-AC85-1BA0432729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2370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3443" y="2393635"/>
            <a:ext cx="11041380" cy="3993832"/>
          </a:xfrm>
        </p:spPr>
        <p:txBody>
          <a:bodyPr anchor="b"/>
          <a:lstStyle>
            <a:lvl1pPr>
              <a:defRPr sz="8400"/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443" y="6425250"/>
            <a:ext cx="11041380" cy="2100262"/>
          </a:xfrm>
        </p:spPr>
        <p:txBody>
          <a:bodyPr/>
          <a:lstStyle>
            <a:lvl1pPr marL="0" indent="0">
              <a:buNone/>
              <a:defRPr sz="3360">
                <a:solidFill>
                  <a:schemeClr val="tx1"/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F477A-D67B-4799-AAA0-3B075D8D450F}" type="datetimeFigureOut">
              <a:rPr kumimoji="1" lang="ja-JP" altLang="en-US" smtClean="0"/>
              <a:t>2023/7/1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20F5D6-1BD2-4071-AC85-1BA0432729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19578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0110" y="2555875"/>
            <a:ext cx="5440680" cy="6091873"/>
          </a:xfrm>
        </p:spPr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810" y="2555875"/>
            <a:ext cx="5440680" cy="6091873"/>
          </a:xfrm>
        </p:spPr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F477A-D67B-4799-AAA0-3B075D8D450F}" type="datetimeFigureOut">
              <a:rPr kumimoji="1" lang="ja-JP" altLang="en-US" smtClean="0"/>
              <a:t>2023/7/17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20F5D6-1BD2-4071-AC85-1BA0432729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228155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7" y="511177"/>
            <a:ext cx="11041380" cy="1855788"/>
          </a:xfrm>
        </p:spPr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1779" y="2353628"/>
            <a:ext cx="5415676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1779" y="3507105"/>
            <a:ext cx="5415676" cy="5158423"/>
          </a:xfrm>
        </p:spPr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80811" y="2353628"/>
            <a:ext cx="5442347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80811" y="3507105"/>
            <a:ext cx="5442347" cy="5158423"/>
          </a:xfrm>
        </p:spPr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F477A-D67B-4799-AAA0-3B075D8D450F}" type="datetimeFigureOut">
              <a:rPr kumimoji="1" lang="ja-JP" altLang="en-US" smtClean="0"/>
              <a:t>2023/7/17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20F5D6-1BD2-4071-AC85-1BA0432729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634814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F477A-D67B-4799-AAA0-3B075D8D450F}" type="datetimeFigureOut">
              <a:rPr kumimoji="1" lang="ja-JP" altLang="en-US" smtClean="0"/>
              <a:t>2023/7/17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20F5D6-1BD2-4071-AC85-1BA0432729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117844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F477A-D67B-4799-AAA0-3B075D8D450F}" type="datetimeFigureOut">
              <a:rPr kumimoji="1" lang="ja-JP" altLang="en-US" smtClean="0"/>
              <a:t>2023/7/17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20F5D6-1BD2-4071-AC85-1BA0432729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062527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8" y="640080"/>
            <a:ext cx="4128849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2347" y="1382397"/>
            <a:ext cx="6480810" cy="6823075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78" y="2880360"/>
            <a:ext cx="4128849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F477A-D67B-4799-AAA0-3B075D8D450F}" type="datetimeFigureOut">
              <a:rPr kumimoji="1" lang="ja-JP" altLang="en-US" smtClean="0"/>
              <a:t>2023/7/17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20F5D6-1BD2-4071-AC85-1BA0432729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384597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8" y="640080"/>
            <a:ext cx="4128849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42347" y="1382397"/>
            <a:ext cx="6480810" cy="6823075"/>
          </a:xfrm>
        </p:spPr>
        <p:txBody>
          <a:bodyPr anchor="t"/>
          <a:lstStyle>
            <a:lvl1pPr marL="0" indent="0">
              <a:buNone/>
              <a:defRPr sz="4480"/>
            </a:lvl1pPr>
            <a:lvl2pPr marL="640080" indent="0">
              <a:buNone/>
              <a:defRPr sz="3920"/>
            </a:lvl2pPr>
            <a:lvl3pPr marL="1280160" indent="0">
              <a:buNone/>
              <a:defRPr sz="336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r>
              <a:rPr lang="en-US" altLang="ja-JP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78" y="2880360"/>
            <a:ext cx="4128849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F477A-D67B-4799-AAA0-3B075D8D450F}" type="datetimeFigureOut">
              <a:rPr kumimoji="1" lang="ja-JP" altLang="en-US" smtClean="0"/>
              <a:t>2023/7/17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20F5D6-1BD2-4071-AC85-1BA0432729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152532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0110" y="511177"/>
            <a:ext cx="1104138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0110" y="2555875"/>
            <a:ext cx="1104138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11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6F477A-D67B-4799-AAA0-3B075D8D450F}" type="datetimeFigureOut">
              <a:rPr kumimoji="1" lang="ja-JP" altLang="en-US" smtClean="0"/>
              <a:t>2023/7/1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40530" y="8898892"/>
            <a:ext cx="43205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113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20F5D6-1BD2-4071-AC85-1BA043272979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74F39B9-4FF3-BC11-715E-B72A7B9F52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62239176"/>
              </p:ext>
            </p:extLst>
          </p:nvPr>
        </p:nvGraphicFramePr>
        <p:xfrm>
          <a:off x="3785" y="2127"/>
          <a:ext cx="3780" cy="21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76C9B9E-34F2-E2A1-E488-6252ECE7E2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3785" y="2127"/>
                        <a:ext cx="3780" cy="21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57759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kumimoji="1"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kumimoji="1" sz="3920" kern="12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kumimoji="1"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kumimoji="1"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kumimoji="1"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kumimoji="1"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kumimoji="1"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kumimoji="1"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kumimoji="1"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kumimoji="1"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kumimoji="1"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kumimoji="1"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kumimoji="1"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kumimoji="1"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kumimoji="1"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kumimoji="1"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kumimoji="1"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kumimoji="1"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DA5C7C-785F-A767-C11E-337478F34A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9812822"/>
              </p:ext>
            </p:extLst>
          </p:nvPr>
        </p:nvGraphicFramePr>
        <p:xfrm>
          <a:off x="3783" y="-3730017"/>
          <a:ext cx="3780" cy="37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DA5C7C-785F-A767-C11E-337478F34A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83" y="-3730017"/>
                        <a:ext cx="3780" cy="37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C7904277-46F1-F4C1-C72E-1F2A34545F9D}"/>
              </a:ext>
            </a:extLst>
          </p:cNvPr>
          <p:cNvGrpSpPr/>
          <p:nvPr/>
        </p:nvGrpSpPr>
        <p:grpSpPr>
          <a:xfrm>
            <a:off x="-28221" y="1627230"/>
            <a:ext cx="12858042" cy="7172732"/>
            <a:chOff x="-28221" y="1627230"/>
            <a:chExt cx="12858042" cy="7172732"/>
          </a:xfrm>
          <a:noFill/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80EEDA5-F853-5C9B-84B7-C0FED72F36B2}"/>
                </a:ext>
              </a:extLst>
            </p:cNvPr>
            <p:cNvSpPr/>
            <p:nvPr/>
          </p:nvSpPr>
          <p:spPr>
            <a:xfrm>
              <a:off x="-28221" y="1627230"/>
              <a:ext cx="12858042" cy="71727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6472"/>
            </a:p>
          </p:txBody>
        </p:sp>
        <p:pic>
          <p:nvPicPr>
            <p:cNvPr id="11" name="Picture 10" descr="A person standing in front of a building&#10;&#10;Description automatically generated">
              <a:extLst>
                <a:ext uri="{FF2B5EF4-FFF2-40B4-BE49-F238E27FC236}">
                  <a16:creationId xmlns:a16="http://schemas.microsoft.com/office/drawing/2014/main" id="{64F72DBB-AE4A-DE7B-27A9-F85E04FCEAB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2426" y="1809768"/>
              <a:ext cx="11216468" cy="6990194"/>
            </a:xfrm>
            <a:prstGeom prst="rect">
              <a:avLst/>
            </a:prstGeom>
            <a:grpFill/>
          </p:spPr>
        </p:pic>
      </p:grpSp>
      <p:sp>
        <p:nvSpPr>
          <p:cNvPr id="51" name="Isosceles Triangle 50">
            <a:extLst>
              <a:ext uri="{FF2B5EF4-FFF2-40B4-BE49-F238E27FC236}">
                <a16:creationId xmlns:a16="http://schemas.microsoft.com/office/drawing/2014/main" id="{65DA7EDF-8BDC-4F7A-3830-ED5D1EF420FE}"/>
              </a:ext>
            </a:extLst>
          </p:cNvPr>
          <p:cNvSpPr/>
          <p:nvPr/>
        </p:nvSpPr>
        <p:spPr>
          <a:xfrm rot="9102683">
            <a:off x="12646566" y="-3897565"/>
            <a:ext cx="313025" cy="634254"/>
          </a:xfrm>
          <a:prstGeom prst="triangle">
            <a:avLst>
              <a:gd name="adj" fmla="val 100000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6472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C50DC1D-CF4B-9C26-FE33-EC71CC581EF1}"/>
              </a:ext>
            </a:extLst>
          </p:cNvPr>
          <p:cNvGrpSpPr/>
          <p:nvPr/>
        </p:nvGrpSpPr>
        <p:grpSpPr>
          <a:xfrm>
            <a:off x="674236" y="155546"/>
            <a:ext cx="12858042" cy="7172732"/>
            <a:chOff x="-28221" y="1627230"/>
            <a:chExt cx="12858042" cy="7172732"/>
          </a:xfrm>
          <a:noFill/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615D388-81C4-E0B4-8CDA-3AB45E0019E6}"/>
                </a:ext>
              </a:extLst>
            </p:cNvPr>
            <p:cNvSpPr/>
            <p:nvPr/>
          </p:nvSpPr>
          <p:spPr>
            <a:xfrm>
              <a:off x="-28221" y="1627230"/>
              <a:ext cx="12858042" cy="71727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6472"/>
            </a:p>
          </p:txBody>
        </p:sp>
        <p:pic>
          <p:nvPicPr>
            <p:cNvPr id="16" name="Picture 15" descr="A person standing in front of a building&#10;&#10;Description automatically generated">
              <a:extLst>
                <a:ext uri="{FF2B5EF4-FFF2-40B4-BE49-F238E27FC236}">
                  <a16:creationId xmlns:a16="http://schemas.microsoft.com/office/drawing/2014/main" id="{73ED6810-A6E6-0231-D0A7-AE6E0C17FA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Glass scaling="1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229" t="30861" r="5368" b="32006"/>
            <a:stretch/>
          </p:blipFill>
          <p:spPr>
            <a:xfrm>
              <a:off x="5657400" y="5361296"/>
              <a:ext cx="5537733" cy="2647666"/>
            </a:xfrm>
            <a:prstGeom prst="rect">
              <a:avLst/>
            </a:prstGeom>
            <a:grpFill/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8A893450-7E7A-7D41-E509-3E4F8DCC0FC1}"/>
              </a:ext>
            </a:extLst>
          </p:cNvPr>
          <p:cNvSpPr/>
          <p:nvPr/>
        </p:nvSpPr>
        <p:spPr>
          <a:xfrm>
            <a:off x="6359857" y="4220570"/>
            <a:ext cx="5622878" cy="1985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>
                <a:solidFill>
                  <a:schemeClr val="bg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経営者の一番身近な専門家として</a:t>
            </a:r>
            <a:endParaRPr kumimoji="1" lang="en-US" altLang="ja-JP" sz="1600" dirty="0">
              <a:solidFill>
                <a:schemeClr val="bg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algn="ctr"/>
            <a:r>
              <a:rPr kumimoji="1" lang="ja-JP" altLang="en-US" sz="1600" dirty="0">
                <a:solidFill>
                  <a:schemeClr val="bg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お客様に寄り添ったサービスの提供を目指します</a:t>
            </a:r>
          </a:p>
        </p:txBody>
      </p:sp>
    </p:spTree>
    <p:extLst>
      <p:ext uri="{BB962C8B-B14F-4D97-AF65-F5344CB8AC3E}">
        <p14:creationId xmlns:p14="http://schemas.microsoft.com/office/powerpoint/2010/main" val="12556249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89</TotalTime>
  <Words>17</Words>
  <Application>Microsoft Office PowerPoint</Application>
  <PresentationFormat>A3 Paper (297x420 mm)</PresentationFormat>
  <Paragraphs>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BIZ UDゴシック</vt:lpstr>
      <vt:lpstr>游ゴシック</vt:lpstr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>Roland Berger Holding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森税理士事務所</dc:title>
  <dc:creator>Isogai, Megumi</dc:creator>
  <cp:lastModifiedBy>Isogai, Megumi</cp:lastModifiedBy>
  <cp:revision>21</cp:revision>
  <cp:lastPrinted>2023-07-15T07:25:51Z</cp:lastPrinted>
  <dcterms:created xsi:type="dcterms:W3CDTF">2023-07-10T12:28:38Z</dcterms:created>
  <dcterms:modified xsi:type="dcterms:W3CDTF">2023-07-17T06:59:55Z</dcterms:modified>
</cp:coreProperties>
</file>